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7"/>
  </p:notesMasterIdLst>
  <p:handoutMasterIdLst>
    <p:handoutMasterId r:id="rId8"/>
  </p:handoutMasterIdLst>
  <p:sldIdLst>
    <p:sldId id="365" r:id="rId5"/>
    <p:sldId id="366" r:id="rId6"/>
  </p:sldIdLst>
  <p:sldSz cx="9144000" cy="5143500" type="screen16x9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84" userDrawn="1">
          <p15:clr>
            <a:srgbClr val="A4A3A4"/>
          </p15:clr>
        </p15:guide>
        <p15:guide id="3" pos="2824" userDrawn="1">
          <p15:clr>
            <a:srgbClr val="A4A3A4"/>
          </p15:clr>
        </p15:guide>
        <p15:guide id="4" pos="2936" userDrawn="1">
          <p15:clr>
            <a:srgbClr val="A4A3A4"/>
          </p15:clr>
        </p15:guide>
        <p15:guide id="6" orient="horz" pos="781" userDrawn="1">
          <p15:clr>
            <a:srgbClr val="A4A3A4"/>
          </p15:clr>
        </p15:guide>
        <p15:guide id="7" pos="5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4C9A"/>
    <a:srgbClr val="00A5DC"/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70" autoAdjust="0"/>
    <p:restoredTop sz="94423" autoAdjust="0"/>
  </p:normalViewPr>
  <p:slideViewPr>
    <p:cSldViewPr snapToGrid="0" showGuides="1">
      <p:cViewPr varScale="1">
        <p:scale>
          <a:sx n="161" d="100"/>
          <a:sy n="161" d="100"/>
        </p:scale>
        <p:origin x="138" y="192"/>
      </p:cViewPr>
      <p:guideLst>
        <p:guide orient="horz" pos="2890"/>
        <p:guide pos="284"/>
        <p:guide pos="2824"/>
        <p:guide pos="2936"/>
        <p:guide orient="horz" pos="781"/>
        <p:guide pos="54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ne Kunzelmann" userId="460bbbb8-bd33-4b02-9649-52f5bccb28ee" providerId="ADAL" clId="{72BD1936-1FD0-4A79-B80B-F1BB6D723678}"/>
    <pc:docChg chg="delSld">
      <pc:chgData name="Susanne Kunzelmann" userId="460bbbb8-bd33-4b02-9649-52f5bccb28ee" providerId="ADAL" clId="{72BD1936-1FD0-4A79-B80B-F1BB6D723678}" dt="2025-02-21T06:02:52.648" v="1" actId="47"/>
      <pc:docMkLst>
        <pc:docMk/>
      </pc:docMkLst>
      <pc:sldChg chg="del">
        <pc:chgData name="Susanne Kunzelmann" userId="460bbbb8-bd33-4b02-9649-52f5bccb28ee" providerId="ADAL" clId="{72BD1936-1FD0-4A79-B80B-F1BB6D723678}" dt="2025-02-21T06:02:49.796" v="0" actId="47"/>
        <pc:sldMkLst>
          <pc:docMk/>
          <pc:sldMk cId="1378862037" sldId="363"/>
        </pc:sldMkLst>
      </pc:sldChg>
      <pc:sldChg chg="del">
        <pc:chgData name="Susanne Kunzelmann" userId="460bbbb8-bd33-4b02-9649-52f5bccb28ee" providerId="ADAL" clId="{72BD1936-1FD0-4A79-B80B-F1BB6D723678}" dt="2025-02-21T06:02:49.796" v="0" actId="47"/>
        <pc:sldMkLst>
          <pc:docMk/>
          <pc:sldMk cId="1045314446" sldId="364"/>
        </pc:sldMkLst>
      </pc:sldChg>
      <pc:sldChg chg="del">
        <pc:chgData name="Susanne Kunzelmann" userId="460bbbb8-bd33-4b02-9649-52f5bccb28ee" providerId="ADAL" clId="{72BD1936-1FD0-4A79-B80B-F1BB6D723678}" dt="2025-02-21T06:02:52.648" v="1" actId="47"/>
        <pc:sldMkLst>
          <pc:docMk/>
          <pc:sldMk cId="3096738895" sldId="367"/>
        </pc:sldMkLst>
      </pc:sldChg>
      <pc:sldChg chg="del">
        <pc:chgData name="Susanne Kunzelmann" userId="460bbbb8-bd33-4b02-9649-52f5bccb28ee" providerId="ADAL" clId="{72BD1936-1FD0-4A79-B80B-F1BB6D723678}" dt="2025-02-21T06:02:52.648" v="1" actId="47"/>
        <pc:sldMkLst>
          <pc:docMk/>
          <pc:sldMk cId="707478974" sldId="36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1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2/21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9925" y="923925"/>
            <a:ext cx="5457825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17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2C9396F-0E27-4874-B398-5F2BB788CF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3470400"/>
          </a:xfrm>
          <a:solidFill>
            <a:schemeClr val="bg2"/>
          </a:solidFill>
          <a:ln>
            <a:noFill/>
          </a:ln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ein Bild einfüg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FC21D22-0E37-45E9-8134-9E4287B65F5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49263" y="4227933"/>
            <a:ext cx="1115747" cy="558000"/>
            <a:chOff x="7856284" y="172641"/>
            <a:chExt cx="836866" cy="418528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33149A5-FE09-4E14-9C73-EE1D3C58AAE1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18722EB-2501-46CD-9C86-A3A6327A0F14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2396AC9-4377-4E26-BFEB-13C8DFCAD068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2488FE8-DA2A-4E3B-A01A-91BF60872EB7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B7F0387-06FF-4210-A1D4-5535313D1E3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D1858C6F-E26A-4B41-AA3B-59AB1C4D635C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6B054158-808B-46DB-9EB8-A2C3581F50BE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0428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62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660900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3" y="1239838"/>
            <a:ext cx="403225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39802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727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2" y="1239838"/>
            <a:ext cx="8243887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63901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46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67412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778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5927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26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281533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9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42949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89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724232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858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464462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4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28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1845830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39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6121F74-D989-4289-9EA0-478F6EA57E2F}"/>
              </a:ext>
            </a:extLst>
          </p:cNvPr>
          <p:cNvSpPr>
            <a:spLocks/>
          </p:cNvSpPr>
          <p:nvPr userDrawn="1"/>
        </p:nvSpPr>
        <p:spPr bwMode="gray">
          <a:xfrm>
            <a:off x="3257816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87D001E-4A0C-4546-A3FE-E96D6CA3B94E}"/>
              </a:ext>
            </a:extLst>
          </p:cNvPr>
          <p:cNvSpPr>
            <a:spLocks/>
          </p:cNvSpPr>
          <p:nvPr userDrawn="1"/>
        </p:nvSpPr>
        <p:spPr bwMode="gray">
          <a:xfrm>
            <a:off x="6066368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90AA676-3A89-4B8C-A511-1BE7F0CA5993}"/>
              </a:ext>
            </a:extLst>
          </p:cNvPr>
          <p:cNvSpPr>
            <a:spLocks/>
          </p:cNvSpPr>
          <p:nvPr userDrawn="1"/>
        </p:nvSpPr>
        <p:spPr bwMode="gray">
          <a:xfrm>
            <a:off x="449263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F0F09207-2F33-4E9A-B06C-E3A5E02205E4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00143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7A62AE01-0D82-4AFB-8085-65C9D2CA626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00451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43BCDE62-2119-4BCB-99D4-3A3F851B311C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3400297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2550B99-4996-4F04-8FA2-DC0FB49F744F}"/>
              </a:ext>
            </a:extLst>
          </p:cNvPr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449263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02F6050-9D7A-4590-AA9A-A7A33778EFC8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449263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CC1154-8FC7-4FB4-BBB8-7FCBD1AD48A9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9263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3CF1BAB-F95F-4576-A3EC-168BAD168DA4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3257815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D4C43A8-89ED-4EB9-97D7-747C5DDFF1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57816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8894A11-D774-4CDC-8BD4-F4D7D626632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3257816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0485E7A-2B37-4081-A0C9-7223B6C190BE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6066368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693839B-624A-483A-ADDF-63B6429D355D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gray">
          <a:xfrm>
            <a:off x="6066368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5F8B023-A6E0-411D-8FA9-7BC9BF18539D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gray">
          <a:xfrm>
            <a:off x="6066368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F1082862-6487-4C47-925D-51855043F42B}"/>
              </a:ext>
            </a:extLst>
          </p:cNvPr>
          <p:cNvSpPr>
            <a:spLocks noChangeAspect="1"/>
          </p:cNvSpPr>
          <p:nvPr userDrawn="1"/>
        </p:nvSpPr>
        <p:spPr bwMode="gray">
          <a:xfrm rot="5400000">
            <a:off x="395266" y="4251685"/>
            <a:ext cx="215995" cy="108000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26" y="4134412"/>
            <a:ext cx="8251200" cy="45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37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München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2949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A411634-C28B-41E3-B3E7-8A4BEBDF70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39" b="8093"/>
          <a:stretch/>
        </p:blipFill>
        <p:spPr bwMode="gray">
          <a:xfrm>
            <a:off x="0" y="-349"/>
            <a:ext cx="9144000" cy="3470749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FC21D22-0E37-45E9-8134-9E4287B65F5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49263" y="4227933"/>
            <a:ext cx="1115747" cy="558000"/>
            <a:chOff x="7856284" y="172641"/>
            <a:chExt cx="836866" cy="418528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33149A5-FE09-4E14-9C73-EE1D3C58AAE1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18722EB-2501-46CD-9C86-A3A6327A0F14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2396AC9-4377-4E26-BFEB-13C8DFCAD068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2488FE8-DA2A-4E3B-A01A-91BF60872EB7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B7F0387-06FF-4210-A1D4-5535313D1E3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D1858C6F-E26A-4B41-AA3B-59AB1C4D635C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6B054158-808B-46DB-9EB8-A2C3581F50BE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8B905AF-4A64-4737-9E87-C94F92133859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C3CA46-C321-41D7-8244-4D2DABDAEBA8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97D70BD6-EA4B-49D6-841E-881C377DF254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6C7FA69E-48BF-4BED-BB49-AEB910395ACC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5C796D46-6450-472A-9045-63E3C6D56107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85287F9-02BB-4ACC-8005-A5B99F4B6C24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D31A6B45-2A5D-4210-B50F-FBBB997A37A4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11AE48AE-50B3-4813-A43A-1EA9B178482E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D2A8AD6-852F-4095-9D1E-1BD7F36935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54EED5F9-E975-48F8-A8D0-C88D10412526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8F2C98F2-DAEC-4086-8D84-71497A32B4D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D4B3C5E-7FF3-4C53-AE3F-E85F825FB0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93D5D6A3-A5D7-4085-9103-846C16983517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21067DA8-93C3-4847-8743-8CBF3651B24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2B734C9A-0AB2-4145-AA37-E6A65DB4D59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99447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Dies ist eine Kapitelüberschrift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C5F4973-87C7-4A46-B187-22CBB8328DB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41938" y="212143"/>
            <a:ext cx="951212" cy="475714"/>
            <a:chOff x="7856284" y="172641"/>
            <a:chExt cx="836866" cy="418528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C36B99E-60B3-449B-BB82-9E6D2A7DBDAB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7AAF06B-2A13-4F87-B106-BA8E3A1BBE58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9BC4B67-12BA-47EF-89E8-063D33BC4F4F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51693ED-8FCD-47CA-B9BD-8D16C405A814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DB7FFC00-BA67-4FF8-B3C0-6F79EB68D72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B5022820-E3FC-4F4A-8DF6-7A2FBF30AA6E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C6E8E7-0954-4731-85FA-4B1B04AA1212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83106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schirm/Be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79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Dies ist eine Kapitelüberschrift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C5F4973-87C7-4A46-B187-22CBB8328DB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41938" y="212143"/>
            <a:ext cx="951212" cy="475714"/>
            <a:chOff x="7856284" y="172641"/>
            <a:chExt cx="836866" cy="418528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C36B99E-60B3-449B-BB82-9E6D2A7DBDAB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7AAF06B-2A13-4F87-B106-BA8E3A1BBE58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9BC4B67-12BA-47EF-89E8-063D33BC4F4F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51693ED-8FCD-47CA-B9BD-8D16C405A814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DB7FFC00-BA67-4FF8-B3C0-6F79EB68D72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B5022820-E3FC-4F4A-8DF6-7A2FBF30AA6E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C6E8E7-0954-4731-85FA-4B1B04AA1212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3DDF9A30-E837-489A-ACB1-332682E4DA33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9FED959C-055C-420D-ACBE-FCCE4A84A4F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0B4221-9FFF-4574-A7E8-CC7BB4E774E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25246AA-7726-4DE4-8598-CB3725064E85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D5BE621-8B81-461D-B4D3-E1F0DC9338DA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83FE5D1-C251-4202-B195-06D5B1B6DDA4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DDB1C19-2C6C-46A1-ACD5-C3442575C71E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423FBFE3-B724-4E4A-AEB5-539498F7270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2DD7028-0F99-4B5C-8C93-46DD532EF495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E6EC5DD-C87E-4D48-AAE8-47A7FF42AF07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27DBEF06-EC80-4E61-8AD5-BA4CA8261A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EE613173-278A-4F52-9E33-05111F2C5A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E35E6ED-9AE0-41F4-9031-ACE8E89B4D7D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E4423644-616F-4A8C-A817-E504F8D677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06511C4B-CFA1-4CEF-8485-5A374F0F93A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32332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73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2A4FC5-CED0-444A-9B5C-7B485B922F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romanUcPeriod"/>
              <a:defRPr b="0"/>
            </a:lvl1pPr>
            <a:lvl2pPr marL="630000" indent="-2700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/>
            </a:lvl2pPr>
            <a:lvl3pPr marL="898525" indent="-270000"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2209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84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8243886" cy="3348037"/>
          </a:xfrm>
          <a:noFill/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214389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81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D737385-658B-4E09-8E19-E507E18FE28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/>
        <p:txBody>
          <a:bodyPr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3050231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234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60900" y="1239838"/>
            <a:ext cx="4033468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912199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19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660900" y="1239838"/>
            <a:ext cx="403225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338172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06" imgH="306" progId="TCLayout.ActiveDocument.1">
                  <p:embed/>
                </p:oleObj>
              </mc:Choice>
              <mc:Fallback>
                <p:oleObj name="think-cell Folie" r:id="rId2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A3F1E2-0EAB-4319-8224-9763438BA8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9144000" cy="90000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9263" y="400266"/>
            <a:ext cx="7110000" cy="246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9263" y="1239838"/>
            <a:ext cx="8243887" cy="3348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50851" y="4821794"/>
            <a:ext cx="877887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T.MM.JJJJ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028950" y="4821794"/>
            <a:ext cx="30861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ußzeil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6AD4BA7-ACB0-45B2-85B3-66C61DC2646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41938" y="212143"/>
            <a:ext cx="951212" cy="475714"/>
            <a:chOff x="7856284" y="172641"/>
            <a:chExt cx="836866" cy="418528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5A8551D7-1F99-4EC6-B804-51274A3F2244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569CC020-A900-48BB-A37B-84D44B7A3615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FA5F3A3-94BC-47DD-BF05-67D2B139E40A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C7B660-75FF-4282-8844-67E7A16569E6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843C60F-40C5-44D4-89D0-652C32CA0F4B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31834DF-3C4F-48B5-9BAB-7752882E50AE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2710CD1-0826-4C59-9459-F18825F6903A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058CF539-B23E-4BD2-B4ED-407E3F88C054}"/>
              </a:ext>
            </a:extLst>
          </p:cNvPr>
          <p:cNvSpPr txBox="1"/>
          <p:nvPr userDrawn="1"/>
        </p:nvSpPr>
        <p:spPr bwMode="gray">
          <a:xfrm>
            <a:off x="8217542" y="4821794"/>
            <a:ext cx="4756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9ACF905-E6AB-4F18-8FD9-05C1F1B89C5F}" type="slidenum">
              <a:rPr lang="de-DE" sz="800" smtClean="0"/>
              <a:pPr algn="r"/>
              <a:t>‹Nr.›</a:t>
            </a:fld>
            <a:endParaRPr lang="de-DE" sz="800" dirty="0"/>
          </a:p>
        </p:txBody>
      </p:sp>
      <p:sp>
        <p:nvSpPr>
          <p:cNvPr id="26" name="Gleichschenkliges Dreieck 25">
            <a:extLst>
              <a:ext uri="{FF2B5EF4-FFF2-40B4-BE49-F238E27FC236}">
                <a16:creationId xmlns:a16="http://schemas.microsoft.com/office/drawing/2014/main" id="{4CF24CCE-A7B6-4EED-B681-30EEC164C9DD}"/>
              </a:ext>
            </a:extLst>
          </p:cNvPr>
          <p:cNvSpPr>
            <a:spLocks noChangeAspect="1"/>
          </p:cNvSpPr>
          <p:nvPr userDrawn="1"/>
        </p:nvSpPr>
        <p:spPr bwMode="gray">
          <a:xfrm flipV="1">
            <a:off x="344439" y="900000"/>
            <a:ext cx="215995" cy="108000"/>
          </a:xfrm>
          <a:prstGeom prst="triangle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9" r:id="rId5"/>
    <p:sldLayoutId id="2147483668" r:id="rId6"/>
    <p:sldLayoutId id="2147483671" r:id="rId7"/>
    <p:sldLayoutId id="2147483667" r:id="rId8"/>
    <p:sldLayoutId id="2147483672" r:id="rId9"/>
    <p:sldLayoutId id="2147483673" r:id="rId10"/>
    <p:sldLayoutId id="2147483679" r:id="rId11"/>
    <p:sldLayoutId id="2147483666" r:id="rId12"/>
    <p:sldLayoutId id="2147483674" r:id="rId13"/>
    <p:sldLayoutId id="2147483675" r:id="rId14"/>
    <p:sldLayoutId id="2147483665" r:id="rId15"/>
    <p:sldLayoutId id="2147483676" r:id="rId16"/>
    <p:sldLayoutId id="2147483677" r:id="rId17"/>
    <p:sldLayoutId id="2147483678" r:id="rId18"/>
    <p:sldLayoutId id="2147483670" r:id="rId19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 userDrawn="1">
          <p15:clr>
            <a:srgbClr val="F26B43"/>
          </p15:clr>
        </p15:guide>
        <p15:guide id="2" pos="2824" userDrawn="1">
          <p15:clr>
            <a:srgbClr val="F26B43"/>
          </p15:clr>
        </p15:guide>
        <p15:guide id="3" pos="2936" userDrawn="1">
          <p15:clr>
            <a:srgbClr val="F26B43"/>
          </p15:clr>
        </p15:guide>
        <p15:guide id="4" pos="5476" userDrawn="1">
          <p15:clr>
            <a:srgbClr val="F26B43"/>
          </p15:clr>
        </p15:guide>
        <p15:guide id="5" orient="horz" pos="78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0F7B65FA-2A88-DB52-F139-27168A73507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553" r="14553"/>
          <a:stretch/>
        </p:blipFill>
        <p:spPr>
          <a:xfrm>
            <a:off x="-88489" y="-1"/>
            <a:ext cx="9232490" cy="5309419"/>
          </a:xfrm>
          <a:prstGeom prst="rect">
            <a:avLst/>
          </a:prstGeom>
          <a:solidFill>
            <a:srgbClr val="9F5098"/>
          </a:solidFill>
          <a:ln>
            <a:noFill/>
          </a:ln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2E2DF1C0-0A03-EC7B-2185-8CEF9A054D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91876" y="1049954"/>
            <a:ext cx="4268968" cy="822029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ind Sie zufrieden mit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unserem Service?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D275733-4AA2-BEC7-8614-B9D8C3D6B1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91876" y="2224640"/>
            <a:ext cx="2709233" cy="1704823"/>
          </a:xfrm>
        </p:spPr>
        <p:txBody>
          <a:bodyPr/>
          <a:lstStyle/>
          <a:p>
            <a:pPr>
              <a:tabLst>
                <a:tab pos="1371600" algn="l"/>
              </a:tabLst>
            </a:pPr>
            <a:r>
              <a:rPr lang="de-DE" sz="2000" dirty="0">
                <a:solidFill>
                  <a:schemeClr val="bg1"/>
                </a:solidFill>
              </a:rPr>
              <a:t>Hinterlassen Sie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uns eine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Kundenrezension!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79A2978-6D97-B0DC-1B9A-A3902DAC56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41932" y="212143"/>
            <a:ext cx="951216" cy="475714"/>
            <a:chOff x="7856284" y="172641"/>
            <a:chExt cx="836870" cy="418528"/>
          </a:xfrm>
        </p:grpSpPr>
        <p:sp>
          <p:nvSpPr>
            <p:cNvPr id="12" name="Freihandform: Form 20">
              <a:extLst>
                <a:ext uri="{FF2B5EF4-FFF2-40B4-BE49-F238E27FC236}">
                  <a16:creationId xmlns:a16="http://schemas.microsoft.com/office/drawing/2014/main" id="{A0158A17-66BA-39D5-6A55-6E810AC96FE3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21">
              <a:extLst>
                <a:ext uri="{FF2B5EF4-FFF2-40B4-BE49-F238E27FC236}">
                  <a16:creationId xmlns:a16="http://schemas.microsoft.com/office/drawing/2014/main" id="{76F94783-7D9E-40ED-E7D5-FDE38AF30535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22">
              <a:extLst>
                <a:ext uri="{FF2B5EF4-FFF2-40B4-BE49-F238E27FC236}">
                  <a16:creationId xmlns:a16="http://schemas.microsoft.com/office/drawing/2014/main" id="{CD72C227-E214-DB76-E864-9164B130FB1F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23">
              <a:extLst>
                <a:ext uri="{FF2B5EF4-FFF2-40B4-BE49-F238E27FC236}">
                  <a16:creationId xmlns:a16="http://schemas.microsoft.com/office/drawing/2014/main" id="{A1F80420-5BDE-C233-A815-D5B912A8998F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24">
              <a:extLst>
                <a:ext uri="{FF2B5EF4-FFF2-40B4-BE49-F238E27FC236}">
                  <a16:creationId xmlns:a16="http://schemas.microsoft.com/office/drawing/2014/main" id="{DA62B8E8-0B13-A3E0-3161-DC0D2B9FB30E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25">
              <a:extLst>
                <a:ext uri="{FF2B5EF4-FFF2-40B4-BE49-F238E27FC236}">
                  <a16:creationId xmlns:a16="http://schemas.microsoft.com/office/drawing/2014/main" id="{0927A19A-26BB-D35F-2D20-BA1956EECE2B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26">
              <a:extLst>
                <a:ext uri="{FF2B5EF4-FFF2-40B4-BE49-F238E27FC236}">
                  <a16:creationId xmlns:a16="http://schemas.microsoft.com/office/drawing/2014/main" id="{3281FB39-53BF-A15A-AA07-44B8DEE87DEF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516CE07-CDF9-7B07-BB46-9449CC048BB6}"/>
              </a:ext>
            </a:extLst>
          </p:cNvPr>
          <p:cNvGrpSpPr/>
          <p:nvPr/>
        </p:nvGrpSpPr>
        <p:grpSpPr>
          <a:xfrm>
            <a:off x="5316181" y="2085975"/>
            <a:ext cx="3834713" cy="3223444"/>
            <a:chOff x="5316181" y="2085975"/>
            <a:chExt cx="3834713" cy="3223444"/>
          </a:xfrm>
        </p:grpSpPr>
        <p:sp>
          <p:nvSpPr>
            <p:cNvPr id="3" name="Freihandform 2">
              <a:extLst>
                <a:ext uri="{FF2B5EF4-FFF2-40B4-BE49-F238E27FC236}">
                  <a16:creationId xmlns:a16="http://schemas.microsoft.com/office/drawing/2014/main" id="{D1B1C845-F8EF-CD13-8C78-2FE775C52992}"/>
                </a:ext>
              </a:extLst>
            </p:cNvPr>
            <p:cNvSpPr/>
            <p:nvPr/>
          </p:nvSpPr>
          <p:spPr>
            <a:xfrm>
              <a:off x="5316181" y="2085975"/>
              <a:ext cx="3834713" cy="3223444"/>
            </a:xfrm>
            <a:custGeom>
              <a:avLst/>
              <a:gdLst>
                <a:gd name="connsiteX0" fmla="*/ 2043687 w 3416526"/>
                <a:gd name="connsiteY0" fmla="*/ 0 h 2871918"/>
                <a:gd name="connsiteX1" fmla="*/ 3343662 w 3416526"/>
                <a:gd name="connsiteY1" fmla="*/ 466679 h 2871918"/>
                <a:gd name="connsiteX2" fmla="*/ 3416526 w 3416526"/>
                <a:gd name="connsiteY2" fmla="*/ 532902 h 2871918"/>
                <a:gd name="connsiteX3" fmla="*/ 3416526 w 3416526"/>
                <a:gd name="connsiteY3" fmla="*/ 2871918 h 2871918"/>
                <a:gd name="connsiteX4" fmla="*/ 176373 w 3416526"/>
                <a:gd name="connsiteY4" fmla="*/ 2871918 h 2871918"/>
                <a:gd name="connsiteX5" fmla="*/ 160603 w 3416526"/>
                <a:gd name="connsiteY5" fmla="*/ 2839182 h 2871918"/>
                <a:gd name="connsiteX6" fmla="*/ 0 w 3416526"/>
                <a:gd name="connsiteY6" fmla="*/ 2043687 h 2871918"/>
                <a:gd name="connsiteX7" fmla="*/ 2043687 w 3416526"/>
                <a:gd name="connsiteY7" fmla="*/ 0 h 287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6526" h="2871918">
                  <a:moveTo>
                    <a:pt x="2043687" y="0"/>
                  </a:moveTo>
                  <a:cubicBezTo>
                    <a:pt x="2537492" y="0"/>
                    <a:pt x="2990392" y="175135"/>
                    <a:pt x="3343662" y="466679"/>
                  </a:cubicBezTo>
                  <a:lnTo>
                    <a:pt x="3416526" y="532902"/>
                  </a:lnTo>
                  <a:lnTo>
                    <a:pt x="3416526" y="2871918"/>
                  </a:lnTo>
                  <a:lnTo>
                    <a:pt x="176373" y="2871918"/>
                  </a:lnTo>
                  <a:lnTo>
                    <a:pt x="160603" y="2839182"/>
                  </a:lnTo>
                  <a:cubicBezTo>
                    <a:pt x="57187" y="2594679"/>
                    <a:pt x="0" y="2325861"/>
                    <a:pt x="0" y="2043687"/>
                  </a:cubicBezTo>
                  <a:cubicBezTo>
                    <a:pt x="0" y="914990"/>
                    <a:pt x="914990" y="0"/>
                    <a:pt x="204368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>
              <a:noAutofit/>
            </a:bodyPr>
            <a:lstStyle/>
            <a:p>
              <a:pPr algn="l"/>
              <a:endParaRPr lang="de-DE" sz="1600" dirty="0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4B535168-7E6B-BEBA-C3D4-8BC66DBFAA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87114" y="3437683"/>
              <a:ext cx="1671473" cy="1671473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F47E2F4-A9D3-A517-14AC-794B5B6D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72276" y="3437683"/>
              <a:ext cx="1671473" cy="1671473"/>
            </a:xfrm>
            <a:prstGeom prst="rect">
              <a:avLst/>
            </a:prstGeom>
          </p:spPr>
        </p:pic>
        <p:sp>
          <p:nvSpPr>
            <p:cNvPr id="10" name="Untertitel 7">
              <a:extLst>
                <a:ext uri="{FF2B5EF4-FFF2-40B4-BE49-F238E27FC236}">
                  <a16:creationId xmlns:a16="http://schemas.microsoft.com/office/drawing/2014/main" id="{F10816C3-D3B3-7B95-FADB-76B961B41F0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753192" y="2932710"/>
              <a:ext cx="3381849" cy="544506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Wingdings" panose="05000000000000000000" pitchFamily="2" charset="2"/>
                <a:buNone/>
                <a:defRPr sz="1400" b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42900" indent="0" algn="ctr" defTabSz="6858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Wingdings" panose="05000000000000000000" pitchFamily="2" charset="2"/>
                <a:buNone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indent="0" algn="ctr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600" b="1" dirty="0">
                  <a:solidFill>
                    <a:schemeClr val="accent1"/>
                  </a:solidFill>
                </a:rPr>
                <a:t>Bewerten Sie uns </a:t>
              </a:r>
              <a:br>
                <a:rPr lang="de-DE" sz="1600" b="1" dirty="0">
                  <a:solidFill>
                    <a:schemeClr val="accent1"/>
                  </a:solidFill>
                </a:rPr>
              </a:br>
              <a:r>
                <a:rPr lang="de-DE" sz="1600" b="1" dirty="0">
                  <a:solidFill>
                    <a:schemeClr val="accent1"/>
                  </a:solidFill>
                </a:rPr>
                <a:t>auf </a:t>
              </a:r>
              <a:r>
                <a:rPr lang="de-DE" sz="1600" b="1" dirty="0">
                  <a:solidFill>
                    <a:srgbClr val="00A5DC"/>
                  </a:solidFill>
                </a:rPr>
                <a:t>Google</a:t>
              </a:r>
              <a:r>
                <a:rPr lang="de-DE" sz="1600" b="1" dirty="0">
                  <a:solidFill>
                    <a:schemeClr val="accent1"/>
                  </a:solidFill>
                </a:rPr>
                <a:t> oder </a:t>
              </a:r>
              <a:r>
                <a:rPr lang="de-DE" sz="1600" b="1" dirty="0">
                  <a:solidFill>
                    <a:srgbClr val="00A5DC"/>
                  </a:solidFill>
                </a:rPr>
                <a:t>Facebook</a:t>
              </a:r>
              <a:r>
                <a:rPr lang="de-DE" sz="1600" b="1" dirty="0">
                  <a:solidFill>
                    <a:schemeClr val="accent1"/>
                  </a:solidFill>
                </a:rPr>
                <a:t>!</a:t>
              </a:r>
              <a:endParaRPr lang="de-DE" sz="1600" dirty="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9A6BB8F-8DF1-9366-7BCB-24EF44206786}"/>
                </a:ext>
              </a:extLst>
            </p:cNvPr>
            <p:cNvSpPr/>
            <p:nvPr/>
          </p:nvSpPr>
          <p:spPr>
            <a:xfrm>
              <a:off x="6446367" y="4103256"/>
              <a:ext cx="340326" cy="3403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5F08617-14BB-E0D0-4A44-E3CF33259966}"/>
                </a:ext>
              </a:extLst>
            </p:cNvPr>
            <p:cNvSpPr/>
            <p:nvPr/>
          </p:nvSpPr>
          <p:spPr>
            <a:xfrm>
              <a:off x="8040956" y="4103256"/>
              <a:ext cx="340326" cy="3403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5D3AA34B-9EC3-9546-CA89-87D7FF11A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6487850" y="4138419"/>
              <a:ext cx="270000" cy="270000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ECE280EF-F113-D301-1A31-F5FE22BB00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73012" y="4138419"/>
              <a:ext cx="270000" cy="27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7232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556F9A-C90E-62E2-D437-A4788BD629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9C594FFF-CAA1-78C7-6788-473037D376C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553" r="14553"/>
          <a:stretch/>
        </p:blipFill>
        <p:spPr>
          <a:xfrm>
            <a:off x="-88489" y="-1"/>
            <a:ext cx="9232490" cy="5309419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24F7D9E2-04A6-27C2-C190-FF2F3B1B9C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91876" y="1049954"/>
            <a:ext cx="4268968" cy="822029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ind Sie zufrieden mit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unserer Zusammenarbeit?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D688669-87B9-62EE-6675-FF272B8A9D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91876" y="2224640"/>
            <a:ext cx="2709233" cy="1704823"/>
          </a:xfrm>
        </p:spPr>
        <p:txBody>
          <a:bodyPr/>
          <a:lstStyle/>
          <a:p>
            <a:r>
              <a:rPr lang="de-DE" sz="2400" dirty="0">
                <a:solidFill>
                  <a:schemeClr val="bg1"/>
                </a:solidFill>
                <a:ea typeface="+mn-lt"/>
                <a:cs typeface="+mn-lt"/>
              </a:rPr>
              <a:t>Ihre Rezension </a:t>
            </a:r>
            <a:br>
              <a:rPr lang="de-DE" sz="2400" dirty="0">
                <a:solidFill>
                  <a:schemeClr val="bg1"/>
                </a:solidFill>
                <a:ea typeface="+mn-lt"/>
                <a:cs typeface="+mn-lt"/>
              </a:rPr>
            </a:br>
            <a:r>
              <a:rPr lang="de-DE" sz="2400" dirty="0">
                <a:solidFill>
                  <a:schemeClr val="bg1"/>
                </a:solidFill>
                <a:ea typeface="+mn-lt"/>
                <a:cs typeface="+mn-lt"/>
              </a:rPr>
              <a:t>hilft, die Arbeit </a:t>
            </a:r>
            <a:br>
              <a:rPr lang="de-DE" sz="2400" dirty="0">
                <a:solidFill>
                  <a:schemeClr val="bg1"/>
                </a:solidFill>
                <a:ea typeface="+mn-lt"/>
                <a:cs typeface="+mn-lt"/>
              </a:rPr>
            </a:br>
            <a:r>
              <a:rPr lang="de-DE" sz="2400" dirty="0">
                <a:solidFill>
                  <a:schemeClr val="bg1"/>
                </a:solidFill>
                <a:ea typeface="+mn-lt"/>
                <a:cs typeface="+mn-lt"/>
              </a:rPr>
              <a:t>der IHK </a:t>
            </a:r>
          </a:p>
          <a:p>
            <a:r>
              <a:rPr lang="de-DE" sz="2400" dirty="0">
                <a:solidFill>
                  <a:schemeClr val="bg1"/>
                </a:solidFill>
                <a:ea typeface="+mn-lt"/>
                <a:cs typeface="+mn-lt"/>
              </a:rPr>
              <a:t>sichtbar zu machen.</a:t>
            </a:r>
            <a:endParaRPr lang="de-DE" sz="2400" dirty="0">
              <a:solidFill>
                <a:schemeClr val="bg1"/>
              </a:solidFill>
              <a:cs typeface="Arial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EA7ADEF-242E-4E39-C9D1-F79C1994648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41932" y="212143"/>
            <a:ext cx="951216" cy="475714"/>
            <a:chOff x="7856284" y="172641"/>
            <a:chExt cx="836870" cy="418528"/>
          </a:xfrm>
        </p:grpSpPr>
        <p:sp>
          <p:nvSpPr>
            <p:cNvPr id="12" name="Freihandform: Form 20">
              <a:extLst>
                <a:ext uri="{FF2B5EF4-FFF2-40B4-BE49-F238E27FC236}">
                  <a16:creationId xmlns:a16="http://schemas.microsoft.com/office/drawing/2014/main" id="{6903D66C-CB35-FD92-6185-A48197FDD225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21">
              <a:extLst>
                <a:ext uri="{FF2B5EF4-FFF2-40B4-BE49-F238E27FC236}">
                  <a16:creationId xmlns:a16="http://schemas.microsoft.com/office/drawing/2014/main" id="{CA1AEA8A-22EC-57E1-7FD9-AA7C02124202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22">
              <a:extLst>
                <a:ext uri="{FF2B5EF4-FFF2-40B4-BE49-F238E27FC236}">
                  <a16:creationId xmlns:a16="http://schemas.microsoft.com/office/drawing/2014/main" id="{A77D1FC3-7616-790F-5A75-ED968D6D38E6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23">
              <a:extLst>
                <a:ext uri="{FF2B5EF4-FFF2-40B4-BE49-F238E27FC236}">
                  <a16:creationId xmlns:a16="http://schemas.microsoft.com/office/drawing/2014/main" id="{F85C30AB-E492-5353-8A38-8C86F029E2D2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24">
              <a:extLst>
                <a:ext uri="{FF2B5EF4-FFF2-40B4-BE49-F238E27FC236}">
                  <a16:creationId xmlns:a16="http://schemas.microsoft.com/office/drawing/2014/main" id="{9DCA5A05-8749-4203-E73D-D689530276C8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25">
              <a:extLst>
                <a:ext uri="{FF2B5EF4-FFF2-40B4-BE49-F238E27FC236}">
                  <a16:creationId xmlns:a16="http://schemas.microsoft.com/office/drawing/2014/main" id="{8CA41C0A-4529-8C50-B79A-74CECFE32EE8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26">
              <a:extLst>
                <a:ext uri="{FF2B5EF4-FFF2-40B4-BE49-F238E27FC236}">
                  <a16:creationId xmlns:a16="http://schemas.microsoft.com/office/drawing/2014/main" id="{DF4E78F1-D1A6-56D7-5BE8-8AFB0144267D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8829288-F1F7-EEDD-1592-48B7409BB405}"/>
              </a:ext>
            </a:extLst>
          </p:cNvPr>
          <p:cNvGrpSpPr/>
          <p:nvPr/>
        </p:nvGrpSpPr>
        <p:grpSpPr>
          <a:xfrm>
            <a:off x="5316181" y="2085975"/>
            <a:ext cx="3834713" cy="3223444"/>
            <a:chOff x="5316181" y="2085975"/>
            <a:chExt cx="3834713" cy="3223444"/>
          </a:xfrm>
        </p:grpSpPr>
        <p:sp>
          <p:nvSpPr>
            <p:cNvPr id="40" name="Freihandform 39">
              <a:extLst>
                <a:ext uri="{FF2B5EF4-FFF2-40B4-BE49-F238E27FC236}">
                  <a16:creationId xmlns:a16="http://schemas.microsoft.com/office/drawing/2014/main" id="{E7D9ADE5-EE6F-2FE6-738F-ED2CFA2A0DCE}"/>
                </a:ext>
              </a:extLst>
            </p:cNvPr>
            <p:cNvSpPr/>
            <p:nvPr/>
          </p:nvSpPr>
          <p:spPr>
            <a:xfrm>
              <a:off x="5316181" y="2085975"/>
              <a:ext cx="3834713" cy="3223444"/>
            </a:xfrm>
            <a:custGeom>
              <a:avLst/>
              <a:gdLst>
                <a:gd name="connsiteX0" fmla="*/ 2043687 w 3416526"/>
                <a:gd name="connsiteY0" fmla="*/ 0 h 2871918"/>
                <a:gd name="connsiteX1" fmla="*/ 3343662 w 3416526"/>
                <a:gd name="connsiteY1" fmla="*/ 466679 h 2871918"/>
                <a:gd name="connsiteX2" fmla="*/ 3416526 w 3416526"/>
                <a:gd name="connsiteY2" fmla="*/ 532902 h 2871918"/>
                <a:gd name="connsiteX3" fmla="*/ 3416526 w 3416526"/>
                <a:gd name="connsiteY3" fmla="*/ 2871918 h 2871918"/>
                <a:gd name="connsiteX4" fmla="*/ 176373 w 3416526"/>
                <a:gd name="connsiteY4" fmla="*/ 2871918 h 2871918"/>
                <a:gd name="connsiteX5" fmla="*/ 160603 w 3416526"/>
                <a:gd name="connsiteY5" fmla="*/ 2839182 h 2871918"/>
                <a:gd name="connsiteX6" fmla="*/ 0 w 3416526"/>
                <a:gd name="connsiteY6" fmla="*/ 2043687 h 2871918"/>
                <a:gd name="connsiteX7" fmla="*/ 2043687 w 3416526"/>
                <a:gd name="connsiteY7" fmla="*/ 0 h 287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16526" h="2871918">
                  <a:moveTo>
                    <a:pt x="2043687" y="0"/>
                  </a:moveTo>
                  <a:cubicBezTo>
                    <a:pt x="2537492" y="0"/>
                    <a:pt x="2990392" y="175135"/>
                    <a:pt x="3343662" y="466679"/>
                  </a:cubicBezTo>
                  <a:lnTo>
                    <a:pt x="3416526" y="532902"/>
                  </a:lnTo>
                  <a:lnTo>
                    <a:pt x="3416526" y="2871918"/>
                  </a:lnTo>
                  <a:lnTo>
                    <a:pt x="176373" y="2871918"/>
                  </a:lnTo>
                  <a:lnTo>
                    <a:pt x="160603" y="2839182"/>
                  </a:lnTo>
                  <a:cubicBezTo>
                    <a:pt x="57187" y="2594679"/>
                    <a:pt x="0" y="2325861"/>
                    <a:pt x="0" y="2043687"/>
                  </a:cubicBezTo>
                  <a:cubicBezTo>
                    <a:pt x="0" y="914990"/>
                    <a:pt x="914990" y="0"/>
                    <a:pt x="204368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72000" rIns="108000" bIns="72000" rtlCol="0" anchor="t">
              <a:noAutofit/>
            </a:bodyPr>
            <a:lstStyle/>
            <a:p>
              <a:pPr algn="l"/>
              <a:endParaRPr lang="de-DE" sz="1600" dirty="0">
                <a:solidFill>
                  <a:schemeClr val="tx1"/>
                </a:solidFill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E3739B2F-B0DF-8A48-F05E-E0046D660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87114" y="3437683"/>
              <a:ext cx="1671473" cy="1671473"/>
            </a:xfrm>
            <a:prstGeom prst="rect">
              <a:avLst/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F2DD63F2-94C6-1A17-E6AE-7F8DF9978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72276" y="3437683"/>
              <a:ext cx="1671473" cy="1671473"/>
            </a:xfrm>
            <a:prstGeom prst="rect">
              <a:avLst/>
            </a:prstGeom>
          </p:spPr>
        </p:pic>
        <p:sp>
          <p:nvSpPr>
            <p:cNvPr id="19" name="Untertitel 7">
              <a:extLst>
                <a:ext uri="{FF2B5EF4-FFF2-40B4-BE49-F238E27FC236}">
                  <a16:creationId xmlns:a16="http://schemas.microsoft.com/office/drawing/2014/main" id="{17DF031A-C313-729D-22FA-821D21E835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753192" y="2932710"/>
              <a:ext cx="3381849" cy="544506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Wingdings" panose="05000000000000000000" pitchFamily="2" charset="2"/>
                <a:buNone/>
                <a:defRPr sz="1400" b="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342900" indent="0" algn="ctr" defTabSz="6858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Wingdings" panose="05000000000000000000" pitchFamily="2" charset="2"/>
                <a:buNone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indent="0" algn="ctr" defTabSz="685800" rtl="0" eaLnBrk="1" latinLnBrk="0" hangingPunct="1">
                <a:lnSpc>
                  <a:spcPct val="100000"/>
                </a:lnSpc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indent="0" algn="ctr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600" b="1" dirty="0">
                  <a:solidFill>
                    <a:schemeClr val="accent1"/>
                  </a:solidFill>
                </a:rPr>
                <a:t>Bewerten Sie uns </a:t>
              </a:r>
              <a:br>
                <a:rPr lang="de-DE" sz="1600" b="1" dirty="0">
                  <a:solidFill>
                    <a:schemeClr val="accent1"/>
                  </a:solidFill>
                </a:rPr>
              </a:br>
              <a:r>
                <a:rPr lang="de-DE" sz="1600" b="1" dirty="0">
                  <a:solidFill>
                    <a:schemeClr val="accent1"/>
                  </a:solidFill>
                </a:rPr>
                <a:t>auf </a:t>
              </a:r>
              <a:r>
                <a:rPr lang="de-DE" sz="1600" b="1" dirty="0">
                  <a:solidFill>
                    <a:srgbClr val="00A5DC"/>
                  </a:solidFill>
                </a:rPr>
                <a:t>Google</a:t>
              </a:r>
              <a:r>
                <a:rPr lang="de-DE" sz="1600" b="1" dirty="0">
                  <a:solidFill>
                    <a:schemeClr val="accent1"/>
                  </a:solidFill>
                </a:rPr>
                <a:t> oder </a:t>
              </a:r>
              <a:r>
                <a:rPr lang="de-DE" sz="1600" b="1" dirty="0">
                  <a:solidFill>
                    <a:srgbClr val="00A5DC"/>
                  </a:solidFill>
                </a:rPr>
                <a:t>Facebook</a:t>
              </a:r>
              <a:r>
                <a:rPr lang="de-DE" sz="1600" b="1" dirty="0">
                  <a:solidFill>
                    <a:schemeClr val="accent1"/>
                  </a:solidFill>
                </a:rPr>
                <a:t>!</a:t>
              </a:r>
              <a:endParaRPr lang="de-DE" sz="1600" dirty="0"/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74173B0F-EBB4-E01D-76F2-C0F56CC5C176}"/>
                </a:ext>
              </a:extLst>
            </p:cNvPr>
            <p:cNvSpPr/>
            <p:nvPr/>
          </p:nvSpPr>
          <p:spPr>
            <a:xfrm>
              <a:off x="6446367" y="4103256"/>
              <a:ext cx="340326" cy="3403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A2B7B1CB-2943-3E25-1159-9EF54F5D6C57}"/>
                </a:ext>
              </a:extLst>
            </p:cNvPr>
            <p:cNvSpPr/>
            <p:nvPr/>
          </p:nvSpPr>
          <p:spPr>
            <a:xfrm>
              <a:off x="8040956" y="4103256"/>
              <a:ext cx="340326" cy="34032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F422FFD-096B-DD37-25CA-C0DC98A2B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6487850" y="4138419"/>
              <a:ext cx="270000" cy="270000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484A0B12-C789-435B-1930-0428D4045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073012" y="4138419"/>
              <a:ext cx="270000" cy="27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1012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IHK_Master_2020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_PPT-Template" id="{787B45A7-4684-4B2A-BE69-B785DDA374B8}" vid="{613B815C-7FA6-4395-AC25-FA10C12BB2AF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a04dc6fb-b7f1-4703-aa16-3aaf5a84df0f">
      <Terms xmlns="http://schemas.microsoft.com/office/infopath/2007/PartnerControls"/>
    </lcf76f155ced4ddcb4097134ff3c332f>
    <TaxCatchAll xmlns="7055c22d-a8fe-4eff-a0e9-a5abd381db3c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7" ma:contentTypeDescription="Ein neues Dokument erstellen." ma:contentTypeScope="" ma:versionID="811042f0ab363d3520bdfbb34aadc5f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f9e8bb9a352052af0db8f2457645624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F5F43F-43E9-4422-AC53-62F85C8DD73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04dc6fb-b7f1-4703-aa16-3aaf5a84df0f"/>
    <ds:schemaRef ds:uri="7055c22d-a8fe-4eff-a0e9-a5abd381db3c"/>
  </ds:schemaRefs>
</ds:datastoreItem>
</file>

<file path=customXml/itemProps2.xml><?xml version="1.0" encoding="utf-8"?>
<ds:datastoreItem xmlns:ds="http://schemas.openxmlformats.org/officeDocument/2006/customXml" ds:itemID="{30433F8B-225F-4A04-B240-4314343BE9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D475D7-A62A-4950-AA07-A6281D6422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4dc6fb-b7f1-4703-aa16-3aaf5a84df0f"/>
    <ds:schemaRef ds:uri="7055c22d-a8fe-4eff-a0e9-a5abd381db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e434e2b-6fb6-4857-b481-761902932f44}" enabled="0" method="" siteId="{ae434e2b-6fb6-4857-b481-761902932f4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HK_PPT-Template</Template>
  <TotalTime>0</TotalTime>
  <Words>56</Words>
  <Application>Microsoft Office PowerPoint</Application>
  <PresentationFormat>Bildschirmpräsentation (16:9)</PresentationFormat>
  <Paragraphs>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6" baseType="lpstr">
      <vt:lpstr>Arial</vt:lpstr>
      <vt:lpstr>Wingdings</vt:lpstr>
      <vt:lpstr>IHK_Master_2020</vt:lpstr>
      <vt:lpstr>think-cell Folie</vt:lpstr>
      <vt:lpstr>Sind Sie zufrieden mit  unserem Service?</vt:lpstr>
      <vt:lpstr>Sind Sie zufrieden mit  unserer Zusammenarbeit?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 Media-Kanäle</dc:title>
  <dc:creator>Susanne Kunzelmann</dc:creator>
  <cp:lastModifiedBy>Susanne Kunzelmann</cp:lastModifiedBy>
  <cp:revision>18</cp:revision>
  <cp:lastPrinted>2020-07-13T13:33:26Z</cp:lastPrinted>
  <dcterms:created xsi:type="dcterms:W3CDTF">2023-08-02T08:03:02Z</dcterms:created>
  <dcterms:modified xsi:type="dcterms:W3CDTF">2025-02-21T06:0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D5C4606E6754A85FF17C944E6CC99</vt:lpwstr>
  </property>
  <property fmtid="{D5CDD505-2E9C-101B-9397-08002B2CF9AE}" pid="3" name="Order">
    <vt:r8>2052400</vt:r8>
  </property>
</Properties>
</file>